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D$2:$D$265</c:f>
              <c:numCache>
                <c:formatCode>#,##0</c:formatCode>
                <c:ptCount val="264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5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6</c:v>
                </c:pt>
                <c:pt idx="208">
                  <c:v>861</c:v>
                </c:pt>
                <c:pt idx="209">
                  <c:v>865</c:v>
                </c:pt>
                <c:pt idx="210">
                  <c:v>838</c:v>
                </c:pt>
                <c:pt idx="211">
                  <c:v>811</c:v>
                </c:pt>
                <c:pt idx="212">
                  <c:v>787</c:v>
                </c:pt>
                <c:pt idx="213">
                  <c:v>760</c:v>
                </c:pt>
                <c:pt idx="214">
                  <c:v>723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6</c:v>
                </c:pt>
                <c:pt idx="228">
                  <c:v>488</c:v>
                </c:pt>
                <c:pt idx="229">
                  <c:v>493</c:v>
                </c:pt>
                <c:pt idx="230">
                  <c:v>491</c:v>
                </c:pt>
                <c:pt idx="231">
                  <c:v>474</c:v>
                </c:pt>
                <c:pt idx="232">
                  <c:v>462</c:v>
                </c:pt>
                <c:pt idx="233">
                  <c:v>416</c:v>
                </c:pt>
                <c:pt idx="234">
                  <c:v>400</c:v>
                </c:pt>
                <c:pt idx="235">
                  <c:v>376</c:v>
                </c:pt>
                <c:pt idx="236">
                  <c:v>370</c:v>
                </c:pt>
                <c:pt idx="237">
                  <c:v>360</c:v>
                </c:pt>
                <c:pt idx="238">
                  <c:v>358</c:v>
                </c:pt>
                <c:pt idx="239">
                  <c:v>332</c:v>
                </c:pt>
                <c:pt idx="240">
                  <c:v>301</c:v>
                </c:pt>
                <c:pt idx="241">
                  <c:v>277</c:v>
                </c:pt>
                <c:pt idx="242">
                  <c:v>261</c:v>
                </c:pt>
                <c:pt idx="243">
                  <c:v>267</c:v>
                </c:pt>
                <c:pt idx="244">
                  <c:v>265</c:v>
                </c:pt>
                <c:pt idx="245">
                  <c:v>253</c:v>
                </c:pt>
                <c:pt idx="246">
                  <c:v>235</c:v>
                </c:pt>
                <c:pt idx="247">
                  <c:v>221</c:v>
                </c:pt>
                <c:pt idx="248">
                  <c:v>204</c:v>
                </c:pt>
                <c:pt idx="249">
                  <c:v>187</c:v>
                </c:pt>
                <c:pt idx="250">
                  <c:v>185</c:v>
                </c:pt>
                <c:pt idx="251">
                  <c:v>187</c:v>
                </c:pt>
                <c:pt idx="252">
                  <c:v>165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10</c:v>
                </c:pt>
                <c:pt idx="260">
                  <c:v>102</c:v>
                </c:pt>
                <c:pt idx="261">
                  <c:v>92</c:v>
                </c:pt>
                <c:pt idx="262">
                  <c:v>78</c:v>
                </c:pt>
                <c:pt idx="263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8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9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B$2:$B$265</c:f>
              <c:numCache>
                <c:formatCode>#,##0</c:formatCode>
                <c:ptCount val="264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C$2:$C$265</c:f>
              <c:numCache>
                <c:formatCode>#,##0</c:formatCode>
                <c:ptCount val="26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D$2:$D$265</c:f>
              <c:numCache>
                <c:formatCode>#,##0</c:formatCode>
                <c:ptCount val="264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1</c:v>
                </c:pt>
                <c:pt idx="80">
                  <c:v>2266</c:v>
                </c:pt>
                <c:pt idx="81">
                  <c:v>2143</c:v>
                </c:pt>
                <c:pt idx="82">
                  <c:v>2128</c:v>
                </c:pt>
                <c:pt idx="83">
                  <c:v>2156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7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1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7</c:v>
                </c:pt>
                <c:pt idx="173">
                  <c:v>2808</c:v>
                </c:pt>
                <c:pt idx="174">
                  <c:v>3000</c:v>
                </c:pt>
                <c:pt idx="175">
                  <c:v>3017</c:v>
                </c:pt>
                <c:pt idx="176">
                  <c:v>3028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4</c:v>
                </c:pt>
                <c:pt idx="182">
                  <c:v>3618</c:v>
                </c:pt>
                <c:pt idx="183">
                  <c:v>3594</c:v>
                </c:pt>
                <c:pt idx="184">
                  <c:v>3677</c:v>
                </c:pt>
                <c:pt idx="185">
                  <c:v>3706</c:v>
                </c:pt>
                <c:pt idx="186">
                  <c:v>3784</c:v>
                </c:pt>
                <c:pt idx="187">
                  <c:v>3873</c:v>
                </c:pt>
                <c:pt idx="188">
                  <c:v>3924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3</c:v>
                </c:pt>
                <c:pt idx="196">
                  <c:v>4101</c:v>
                </c:pt>
                <c:pt idx="197">
                  <c:v>4022</c:v>
                </c:pt>
                <c:pt idx="198">
                  <c:v>3994</c:v>
                </c:pt>
                <c:pt idx="199">
                  <c:v>3792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0</c:v>
                </c:pt>
                <c:pt idx="204">
                  <c:v>3536</c:v>
                </c:pt>
                <c:pt idx="207">
                  <c:v>3354</c:v>
                </c:pt>
                <c:pt idx="208">
                  <c:v>3383</c:v>
                </c:pt>
                <c:pt idx="209">
                  <c:v>3356</c:v>
                </c:pt>
                <c:pt idx="210">
                  <c:v>3280</c:v>
                </c:pt>
                <c:pt idx="211">
                  <c:v>3145</c:v>
                </c:pt>
                <c:pt idx="212">
                  <c:v>2997</c:v>
                </c:pt>
                <c:pt idx="213">
                  <c:v>2811</c:v>
                </c:pt>
                <c:pt idx="214">
                  <c:v>2768</c:v>
                </c:pt>
                <c:pt idx="215">
                  <c:v>2829</c:v>
                </c:pt>
                <c:pt idx="216">
                  <c:v>2842</c:v>
                </c:pt>
                <c:pt idx="217">
                  <c:v>3040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29</c:v>
                </c:pt>
                <c:pt idx="224">
                  <c:v>2234</c:v>
                </c:pt>
                <c:pt idx="225">
                  <c:v>2104</c:v>
                </c:pt>
                <c:pt idx="226">
                  <c:v>1926</c:v>
                </c:pt>
                <c:pt idx="227">
                  <c:v>1779</c:v>
                </c:pt>
                <c:pt idx="228">
                  <c:v>1745</c:v>
                </c:pt>
                <c:pt idx="229">
                  <c:v>1752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49</c:v>
                </c:pt>
                <c:pt idx="237">
                  <c:v>1296</c:v>
                </c:pt>
                <c:pt idx="238">
                  <c:v>1272</c:v>
                </c:pt>
                <c:pt idx="239">
                  <c:v>1230</c:v>
                </c:pt>
                <c:pt idx="240">
                  <c:v>1174</c:v>
                </c:pt>
                <c:pt idx="241">
                  <c:v>1127</c:v>
                </c:pt>
                <c:pt idx="242">
                  <c:v>1134</c:v>
                </c:pt>
                <c:pt idx="243">
                  <c:v>1127</c:v>
                </c:pt>
                <c:pt idx="244">
                  <c:v>1121</c:v>
                </c:pt>
                <c:pt idx="245">
                  <c:v>1053</c:v>
                </c:pt>
                <c:pt idx="246">
                  <c:v>989</c:v>
                </c:pt>
                <c:pt idx="247">
                  <c:v>916</c:v>
                </c:pt>
                <c:pt idx="248">
                  <c:v>851</c:v>
                </c:pt>
                <c:pt idx="249">
                  <c:v>808</c:v>
                </c:pt>
                <c:pt idx="250">
                  <c:v>809</c:v>
                </c:pt>
                <c:pt idx="251">
                  <c:v>773</c:v>
                </c:pt>
                <c:pt idx="252">
                  <c:v>725</c:v>
                </c:pt>
                <c:pt idx="253">
                  <c:v>655</c:v>
                </c:pt>
                <c:pt idx="254">
                  <c:v>636</c:v>
                </c:pt>
                <c:pt idx="255">
                  <c:v>614</c:v>
                </c:pt>
                <c:pt idx="256">
                  <c:v>552</c:v>
                </c:pt>
                <c:pt idx="257">
                  <c:v>550</c:v>
                </c:pt>
                <c:pt idx="258">
                  <c:v>521</c:v>
                </c:pt>
                <c:pt idx="259">
                  <c:v>462</c:v>
                </c:pt>
                <c:pt idx="260">
                  <c:v>424</c:v>
                </c:pt>
                <c:pt idx="261">
                  <c:v>391</c:v>
                </c:pt>
                <c:pt idx="262">
                  <c:v>387</c:v>
                </c:pt>
                <c:pt idx="263">
                  <c:v>3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49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55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B$2:$B$265</c:f>
              <c:numCache>
                <c:formatCode>#,##0</c:formatCode>
                <c:ptCount val="264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C$2:$C$265</c:f>
              <c:numCache>
                <c:formatCode>#,##0</c:formatCode>
                <c:ptCount val="26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D$2:$D$265</c:f>
              <c:numCache>
                <c:formatCode>#,##0</c:formatCode>
                <c:ptCount val="26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9"/>
              <c:layout>
                <c:manualLayout>
                  <c:x val="3.4837775464022197E-2"/>
                  <c:y val="-2.694342728881236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B$2:$B$265</c:f>
              <c:numCache>
                <c:formatCode>#,##0</c:formatCode>
                <c:ptCount val="264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C$2:$C$265</c:f>
              <c:numCache>
                <c:formatCode>#,##0</c:formatCode>
                <c:ptCount val="26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D$2:$D$265</c:f>
              <c:numCache>
                <c:formatCode>#,##0</c:formatCode>
                <c:ptCount val="264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2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5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8</c:v>
                </c:pt>
                <c:pt idx="193">
                  <c:v>1778</c:v>
                </c:pt>
                <c:pt idx="194">
                  <c:v>1825</c:v>
                </c:pt>
                <c:pt idx="195">
                  <c:v>1882</c:v>
                </c:pt>
                <c:pt idx="196">
                  <c:v>1891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4</c:v>
                </c:pt>
                <c:pt idx="204">
                  <c:v>1742</c:v>
                </c:pt>
                <c:pt idx="207">
                  <c:v>1641</c:v>
                </c:pt>
                <c:pt idx="208">
                  <c:v>1651</c:v>
                </c:pt>
                <c:pt idx="209">
                  <c:v>1661</c:v>
                </c:pt>
                <c:pt idx="210">
                  <c:v>1612</c:v>
                </c:pt>
                <c:pt idx="211">
                  <c:v>1552</c:v>
                </c:pt>
                <c:pt idx="212">
                  <c:v>1503</c:v>
                </c:pt>
                <c:pt idx="213">
                  <c:v>1422</c:v>
                </c:pt>
                <c:pt idx="214">
                  <c:v>1399</c:v>
                </c:pt>
                <c:pt idx="215">
                  <c:v>1378</c:v>
                </c:pt>
                <c:pt idx="216">
                  <c:v>1343</c:v>
                </c:pt>
                <c:pt idx="217">
                  <c:v>1393</c:v>
                </c:pt>
                <c:pt idx="218">
                  <c:v>1359</c:v>
                </c:pt>
                <c:pt idx="219">
                  <c:v>1313</c:v>
                </c:pt>
                <c:pt idx="220">
                  <c:v>1234</c:v>
                </c:pt>
                <c:pt idx="221">
                  <c:v>1215</c:v>
                </c:pt>
                <c:pt idx="222">
                  <c:v>1197</c:v>
                </c:pt>
                <c:pt idx="223">
                  <c:v>1184</c:v>
                </c:pt>
                <c:pt idx="224">
                  <c:v>1156</c:v>
                </c:pt>
                <c:pt idx="225">
                  <c:v>1112</c:v>
                </c:pt>
                <c:pt idx="226">
                  <c:v>1034</c:v>
                </c:pt>
                <c:pt idx="227">
                  <c:v>1012</c:v>
                </c:pt>
                <c:pt idx="228">
                  <c:v>972</c:v>
                </c:pt>
                <c:pt idx="229">
                  <c:v>974</c:v>
                </c:pt>
                <c:pt idx="230">
                  <c:v>994</c:v>
                </c:pt>
                <c:pt idx="231">
                  <c:v>942</c:v>
                </c:pt>
                <c:pt idx="232">
                  <c:v>907</c:v>
                </c:pt>
                <c:pt idx="233">
                  <c:v>832</c:v>
                </c:pt>
                <c:pt idx="234">
                  <c:v>786</c:v>
                </c:pt>
                <c:pt idx="235">
                  <c:v>750</c:v>
                </c:pt>
                <c:pt idx="236">
                  <c:v>758</c:v>
                </c:pt>
                <c:pt idx="237">
                  <c:v>736</c:v>
                </c:pt>
                <c:pt idx="238">
                  <c:v>711</c:v>
                </c:pt>
                <c:pt idx="239">
                  <c:v>684</c:v>
                </c:pt>
                <c:pt idx="240">
                  <c:v>635</c:v>
                </c:pt>
                <c:pt idx="241">
                  <c:v>577</c:v>
                </c:pt>
                <c:pt idx="242">
                  <c:v>553</c:v>
                </c:pt>
                <c:pt idx="243">
                  <c:v>559</c:v>
                </c:pt>
                <c:pt idx="244">
                  <c:v>566</c:v>
                </c:pt>
                <c:pt idx="245">
                  <c:v>547</c:v>
                </c:pt>
                <c:pt idx="246">
                  <c:v>504</c:v>
                </c:pt>
                <c:pt idx="247">
                  <c:v>468</c:v>
                </c:pt>
                <c:pt idx="248">
                  <c:v>445</c:v>
                </c:pt>
                <c:pt idx="249">
                  <c:v>416</c:v>
                </c:pt>
                <c:pt idx="250">
                  <c:v>422</c:v>
                </c:pt>
                <c:pt idx="251">
                  <c:v>427</c:v>
                </c:pt>
                <c:pt idx="252">
                  <c:v>403</c:v>
                </c:pt>
                <c:pt idx="253">
                  <c:v>378</c:v>
                </c:pt>
                <c:pt idx="254">
                  <c:v>368</c:v>
                </c:pt>
                <c:pt idx="255">
                  <c:v>340</c:v>
                </c:pt>
                <c:pt idx="256">
                  <c:v>307</c:v>
                </c:pt>
                <c:pt idx="257">
                  <c:v>302</c:v>
                </c:pt>
                <c:pt idx="258">
                  <c:v>293</c:v>
                </c:pt>
                <c:pt idx="259">
                  <c:v>275</c:v>
                </c:pt>
                <c:pt idx="260">
                  <c:v>246</c:v>
                </c:pt>
                <c:pt idx="261">
                  <c:v>210</c:v>
                </c:pt>
                <c:pt idx="262">
                  <c:v>184</c:v>
                </c:pt>
                <c:pt idx="263">
                  <c:v>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9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14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49"/>
              <c:layout>
                <c:manualLayout>
                  <c:x val="2.724025667762075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64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B$2:$B$265</c:f>
              <c:numCache>
                <c:formatCode>#,##0</c:formatCode>
                <c:ptCount val="264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5</c:f>
              <c:numCache>
                <c:formatCode>m/d/yyyy</c:formatCode>
                <c:ptCount val="2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</c:numCache>
            </c:numRef>
          </c:cat>
          <c:val>
            <c:numRef>
              <c:f>Sheet1!$C$2:$C$265</c:f>
              <c:numCache>
                <c:formatCode>#,##0</c:formatCode>
                <c:ptCount val="26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3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3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3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47957746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0863032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53981473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12196869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34746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9087640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20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680</cp:revision>
  <dcterms:created xsi:type="dcterms:W3CDTF">2020-08-08T14:25:07Z</dcterms:created>
  <dcterms:modified xsi:type="dcterms:W3CDTF">2021-05-23T03:40:49Z</dcterms:modified>
</cp:coreProperties>
</file>